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2" r:id="rId2"/>
    <p:sldMasterId id="2147483704" r:id="rId3"/>
  </p:sldMasterIdLst>
  <p:sldIdLst>
    <p:sldId id="258" r:id="rId4"/>
    <p:sldId id="261" r:id="rId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65" d="100"/>
          <a:sy n="65" d="100"/>
        </p:scale>
        <p:origin x="700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slide" Target="slides/slide2.xml"/><Relationship Id="rId4" Type="http://schemas.openxmlformats.org/officeDocument/2006/relationships/slide" Target="slides/slide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880308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16479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84027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folie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8355" y="1309029"/>
            <a:ext cx="3795291" cy="380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95830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143339" y="164638"/>
            <a:ext cx="11905323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661773" y="398796"/>
            <a:ext cx="10907928" cy="155940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5067" baseline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61772" y="1285104"/>
            <a:ext cx="11108128" cy="41036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all" baseline="0"/>
            </a:lvl1pPr>
            <a:lvl2pPr>
              <a:defRPr baseline="0"/>
            </a:lvl2pPr>
          </a:lstStyle>
          <a:p>
            <a:pPr lvl="0"/>
            <a:r>
              <a:rPr lang="de-AT" noProof="0" dirty="0" smtClean="0"/>
              <a:t>Subtitel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3771092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23335" y="542508"/>
            <a:ext cx="11346568" cy="124752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lang="en-GB" sz="5067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noProof="0" dirty="0" smtClean="0"/>
              <a:t>Hier steht die</a:t>
            </a:r>
            <a:br>
              <a:rPr lang="de-AT" noProof="0" dirty="0" smtClean="0"/>
            </a:br>
            <a:r>
              <a:rPr lang="de-AT" noProof="0" dirty="0" smtClean="0"/>
              <a:t>Überschrift.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1929154"/>
            <a:ext cx="11346567" cy="41036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all" baseline="0">
                <a:solidFill>
                  <a:schemeClr val="bg1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de-AT" noProof="0" dirty="0" smtClean="0"/>
              <a:t>und hier der Untertitel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837191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424055" y="2347914"/>
            <a:ext cx="11345848" cy="22057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4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8455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Inhalt + Bild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6485468" y="2347386"/>
            <a:ext cx="5284435" cy="73866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424053" y="2347914"/>
            <a:ext cx="5280139" cy="22057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6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806866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6485855" y="2347914"/>
            <a:ext cx="5284047" cy="73866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24053" y="2347914"/>
            <a:ext cx="5280139" cy="738664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08442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424053" y="2347914"/>
            <a:ext cx="11345849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89111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20"/>
          </p:nvPr>
        </p:nvSpPr>
        <p:spPr>
          <a:xfrm>
            <a:off x="424055" y="2347914"/>
            <a:ext cx="11345848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Diagramm durch Klicken auf Symbol hinzufüg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153958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488285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424053" y="2347915"/>
            <a:ext cx="5280139" cy="22057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485855" y="2347914"/>
            <a:ext cx="5284047" cy="22057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5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76175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25"/>
          </p:nvPr>
        </p:nvSpPr>
        <p:spPr>
          <a:xfrm>
            <a:off x="8508410" y="2347913"/>
            <a:ext cx="3261492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>
          <a:xfrm>
            <a:off x="424053" y="2347913"/>
            <a:ext cx="3261568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464239" y="2347913"/>
            <a:ext cx="3262507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2002191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rtfolie">
    <p:bg bwMode="ltGray"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8355" y="1309029"/>
            <a:ext cx="3795291" cy="3808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305627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it Bild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/>
          <p:cNvSpPr>
            <a:spLocks noGrp="1"/>
          </p:cNvSpPr>
          <p:nvPr>
            <p:ph type="pic" sz="quarter" idx="11"/>
          </p:nvPr>
        </p:nvSpPr>
        <p:spPr>
          <a:xfrm>
            <a:off x="143339" y="164638"/>
            <a:ext cx="11905323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661773" y="398796"/>
            <a:ext cx="10907928" cy="155940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lang="en-GB" sz="5067" baseline="0" dirty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661772" y="1285104"/>
            <a:ext cx="11108128" cy="41036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all" baseline="0"/>
            </a:lvl1pPr>
            <a:lvl2pPr>
              <a:defRPr baseline="0"/>
            </a:lvl2pPr>
          </a:lstStyle>
          <a:p>
            <a:pPr lvl="0"/>
            <a:r>
              <a:rPr lang="de-AT" noProof="0" dirty="0" smtClean="0"/>
              <a:t>Subtitel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13384475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2">
    <p:bg bwMode="lt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5122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el 4"/>
          <p:cNvSpPr>
            <a:spLocks noGrp="1"/>
          </p:cNvSpPr>
          <p:nvPr>
            <p:ph type="title" hasCustomPrompt="1"/>
          </p:nvPr>
        </p:nvSpPr>
        <p:spPr>
          <a:xfrm>
            <a:off x="423335" y="542508"/>
            <a:ext cx="11346568" cy="1247521"/>
          </a:xfr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80000"/>
              </a:lnSpc>
              <a:spcBef>
                <a:spcPts val="0"/>
              </a:spcBef>
              <a:defRPr lang="en-GB" sz="5067" baseline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noProof="0" dirty="0" smtClean="0"/>
              <a:t>Hier steht die</a:t>
            </a:r>
            <a:br>
              <a:rPr lang="de-AT" noProof="0" dirty="0" smtClean="0"/>
            </a:br>
            <a:r>
              <a:rPr lang="de-AT" noProof="0" dirty="0" smtClean="0"/>
              <a:t>Überschrift.</a:t>
            </a:r>
            <a:endParaRPr lang="de-AT" noProof="0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23334" y="1929154"/>
            <a:ext cx="11346567" cy="41036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667" b="1" cap="all" baseline="0">
                <a:solidFill>
                  <a:schemeClr val="bg1"/>
                </a:solidFill>
              </a:defRPr>
            </a:lvl1pPr>
            <a:lvl2pPr>
              <a:defRPr baseline="0"/>
            </a:lvl2pPr>
          </a:lstStyle>
          <a:p>
            <a:pPr lvl="0"/>
            <a:r>
              <a:rPr lang="de-AT" noProof="0" dirty="0" smtClean="0"/>
              <a:t>und hier der Untertitel</a:t>
            </a:r>
            <a:endParaRPr lang="de-AT" noProof="0" dirty="0"/>
          </a:p>
        </p:txBody>
      </p:sp>
    </p:spTree>
    <p:extLst>
      <p:ext uri="{BB962C8B-B14F-4D97-AF65-F5344CB8AC3E}">
        <p14:creationId xmlns:p14="http://schemas.microsoft.com/office/powerpoint/2010/main" val="36338586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424055" y="2347914"/>
            <a:ext cx="11345848" cy="22057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4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76830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Inhalt + Bild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6485468" y="2347386"/>
            <a:ext cx="5284435" cy="73866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14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424053" y="2347914"/>
            <a:ext cx="5280139" cy="2205732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6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770587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Bild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6485855" y="2347914"/>
            <a:ext cx="5284047" cy="73866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23"/>
          </p:nvPr>
        </p:nvSpPr>
        <p:spPr>
          <a:xfrm>
            <a:off x="424053" y="2347914"/>
            <a:ext cx="5280139" cy="738664"/>
          </a:xfr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00814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20"/>
          </p:nvPr>
        </p:nvSpPr>
        <p:spPr>
          <a:xfrm>
            <a:off x="424053" y="2347914"/>
            <a:ext cx="11345849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Bild durch Klicken auf Symbol hinzufügen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262411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20"/>
          </p:nvPr>
        </p:nvSpPr>
        <p:spPr>
          <a:xfrm>
            <a:off x="424055" y="2347914"/>
            <a:ext cx="11345848" cy="369332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Diagramm durch Klicken auf Symbol hinzufügen</a:t>
            </a:r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534200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75819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20"/>
          </p:nvPr>
        </p:nvSpPr>
        <p:spPr>
          <a:xfrm>
            <a:off x="424053" y="2347915"/>
            <a:ext cx="5280139" cy="22057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21"/>
          </p:nvPr>
        </p:nvSpPr>
        <p:spPr>
          <a:xfrm>
            <a:off x="6485855" y="2347914"/>
            <a:ext cx="5284047" cy="2205732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15" name="Bildplatzhalter 3"/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10261147" y="1195595"/>
            <a:ext cx="694795" cy="695419"/>
          </a:xfrm>
        </p:spPr>
        <p:txBody>
          <a:bodyPr>
            <a:noAutofit/>
          </a:bodyPr>
          <a:lstStyle>
            <a:lvl1pPr>
              <a:defRPr sz="1600"/>
            </a:lvl1pPr>
          </a:lstStyle>
          <a:p>
            <a:r>
              <a:rPr lang="de-AT" dirty="0" err="1" smtClean="0"/>
              <a:t>Pictogramme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778693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3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platzhalter 19"/>
          <p:cNvSpPr>
            <a:spLocks noGrp="1"/>
          </p:cNvSpPr>
          <p:nvPr>
            <p:ph type="body" sz="quarter" idx="25"/>
          </p:nvPr>
        </p:nvSpPr>
        <p:spPr>
          <a:xfrm>
            <a:off x="8508410" y="2347913"/>
            <a:ext cx="3261492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23"/>
          </p:nvPr>
        </p:nvSpPr>
        <p:spPr>
          <a:xfrm>
            <a:off x="424053" y="2347913"/>
            <a:ext cx="3261568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4"/>
          </p:nvPr>
        </p:nvSpPr>
        <p:spPr>
          <a:xfrm>
            <a:off x="4464239" y="2347913"/>
            <a:ext cx="3262507" cy="2575064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AT" dirty="0"/>
          </a:p>
        </p:txBody>
      </p:sp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57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7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liennummernplatzhalter 8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>
              <a:solidFill>
                <a:srgbClr val="000000"/>
              </a:solidFill>
            </a:endParaRPr>
          </a:p>
        </p:txBody>
      </p:sp>
      <p:sp>
        <p:nvSpPr>
          <p:cNvPr id="10" name="Rectangle 3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24053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/>
            </a:lvl1pPr>
          </a:lstStyle>
          <a:p>
            <a:pPr lvl="0"/>
            <a:r>
              <a:rPr lang="de-AT" noProof="0" dirty="0" smtClean="0"/>
              <a:t>Hier steht die Überschrift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24053" y="390521"/>
            <a:ext cx="2811964" cy="287259"/>
          </a:xfrm>
          <a:prstGeom prst="rect">
            <a:avLst/>
          </a:prstGeom>
          <a:solidFill>
            <a:schemeClr val="bg1"/>
          </a:solidFill>
        </p:spPr>
        <p:txBody>
          <a:bodyPr wrap="none" rIns="153414">
            <a:spAutoFit/>
          </a:bodyPr>
          <a:lstStyle>
            <a:lvl1pPr>
              <a:defRPr sz="1867" cap="all" baseline="0"/>
            </a:lvl1pPr>
          </a:lstStyle>
          <a:p>
            <a:pPr lvl="0"/>
            <a:r>
              <a:rPr lang="de-DE" dirty="0" smtClean="0"/>
              <a:t>Achtung </a:t>
            </a:r>
            <a:r>
              <a:rPr lang="de-DE" dirty="0" err="1" smtClean="0"/>
              <a:t>blindtext</a:t>
            </a:r>
            <a:endParaRPr lang="de-AT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24055" y="6001703"/>
            <a:ext cx="11345848" cy="164148"/>
          </a:xfrm>
          <a:prstGeom prst="rect">
            <a:avLst/>
          </a:prstGeom>
        </p:spPr>
        <p:txBody>
          <a:bodyPr anchor="b" anchorCtr="0">
            <a:spAutoFit/>
          </a:bodyPr>
          <a:lstStyle>
            <a:lvl1pPr>
              <a:defRPr sz="1067" b="0"/>
            </a:lvl1pPr>
          </a:lstStyle>
          <a:p>
            <a:pPr lvl="0"/>
            <a:r>
              <a:rPr lang="de-DE" dirty="0" smtClean="0"/>
              <a:t>Quelle: Achtung Blindtext</a:t>
            </a:r>
            <a:endParaRPr lang="en-US" dirty="0"/>
          </a:p>
        </p:txBody>
      </p:sp>
      <p:sp>
        <p:nvSpPr>
          <p:cNvPr id="12" name="Textplatzhalter 3"/>
          <p:cNvSpPr>
            <a:spLocks noGrp="1"/>
          </p:cNvSpPr>
          <p:nvPr>
            <p:ph type="body" sz="quarter" idx="19"/>
          </p:nvPr>
        </p:nvSpPr>
        <p:spPr>
          <a:xfrm>
            <a:off x="424053" y="1658940"/>
            <a:ext cx="11345848" cy="410369"/>
          </a:xfrm>
          <a:prstGeom prst="rect">
            <a:avLst/>
          </a:prstGeom>
        </p:spPr>
        <p:txBody>
          <a:bodyPr/>
          <a:lstStyle>
            <a:lvl1pPr>
              <a:defRPr sz="2667"/>
            </a:lvl1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3800968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64300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55477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06706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75183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21309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62398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vmlDrawing" Target="../drawings/vmlDrawing12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6.xml"/><Relationship Id="rId15" Type="http://schemas.openxmlformats.org/officeDocument/2006/relationships/oleObject" Target="../embeddings/oleObject12.bin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ags" Target="../tags/tag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EC2AFD-E764-4CBB-B968-8A20DDACDA95}" type="datetimeFigureOut">
              <a:rPr lang="ru-RU" smtClean="0"/>
              <a:t>чт 01.03.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A75B36A-F5EC-4239-86D8-D3E84279407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460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2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4098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4"/>
            </p:custDataLst>
          </p:nvPr>
        </p:nvSpPr>
        <p:spPr bwMode="auto">
          <a:xfrm>
            <a:off x="31604" y="-38702"/>
            <a:ext cx="132208" cy="23615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390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4" name="Gerade Verbindung 3"/>
          <p:cNvCxnSpPr/>
          <p:nvPr/>
        </p:nvCxnSpPr>
        <p:spPr bwMode="auto">
          <a:xfrm>
            <a:off x="424054" y="526771"/>
            <a:ext cx="947180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55340" y="6292592"/>
            <a:ext cx="514563" cy="29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2273"/>
              </a:lnSpc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4102" name="Text Box 6"/>
          <p:cNvSpPr txBox="1">
            <a:spLocks noChangeArrowheads="1"/>
          </p:cNvSpPr>
          <p:nvPr/>
        </p:nvSpPr>
        <p:spPr bwMode="auto">
          <a:xfrm>
            <a:off x="424053" y="6292592"/>
            <a:ext cx="1191032" cy="29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ts val="227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6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© SAATBAU LINZ /</a:t>
            </a:r>
            <a:endParaRPr kumimoji="0" lang="de-AT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24055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 smtClean="0"/>
              <a:t>Hier steht die Überschrift.</a:t>
            </a:r>
          </a:p>
        </p:txBody>
      </p:sp>
      <p:sp>
        <p:nvSpPr>
          <p:cNvPr id="11" name="Textplatzhalter 22"/>
          <p:cNvSpPr>
            <a:spLocks noGrp="1"/>
          </p:cNvSpPr>
          <p:nvPr>
            <p:ph type="body" idx="1"/>
          </p:nvPr>
        </p:nvSpPr>
        <p:spPr>
          <a:xfrm>
            <a:off x="424053" y="2347913"/>
            <a:ext cx="11345848" cy="3911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667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Textmasterformat bearbeiten</a:t>
            </a:r>
          </a:p>
          <a:p>
            <a:pPr marL="308483" marR="0" lvl="1" indent="-306678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Zweite Ebene</a:t>
            </a:r>
          </a:p>
          <a:p>
            <a:pPr marL="607945" marR="0" lvl="2" indent="-299462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Dritte Ebene</a:t>
            </a:r>
          </a:p>
          <a:p>
            <a:pPr marL="918232" marR="0" lvl="3" indent="-310287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Vierte Ebene</a:t>
            </a:r>
          </a:p>
          <a:p>
            <a:pPr marL="1226713" marR="0" lvl="4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Fünfte Ebene</a:t>
            </a:r>
          </a:p>
          <a:p>
            <a:pPr marL="1526175" marR="0" lvl="5" indent="-299462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Sechste Ebene</a:t>
            </a:r>
          </a:p>
          <a:p>
            <a:pPr marL="1834658" marR="0" lvl="6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Siebte Ebene</a:t>
            </a:r>
          </a:p>
          <a:p>
            <a:pPr marL="2143140" marR="0" lvl="7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Achte Ebene</a:t>
            </a:r>
          </a:p>
        </p:txBody>
      </p:sp>
      <p:pic>
        <p:nvPicPr>
          <p:cNvPr id="4275" name="Picture 179" descr="Z:\Werbung\Brainds\Logo final -Konvertierungen\Sondervariante_Kompakt\Screen 72 dpi\Saatbau_Logo_Sondervariante_Kompakt_72dpi_RGB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759" y="283974"/>
            <a:ext cx="1567143" cy="485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11"/>
          <p:cNvSpPr txBox="1"/>
          <p:nvPr/>
        </p:nvSpPr>
        <p:spPr>
          <a:xfrm>
            <a:off x="1541071" y="6243771"/>
            <a:ext cx="2298091" cy="399879"/>
          </a:xfrm>
          <a:prstGeom prst="rect">
            <a:avLst/>
          </a:prstGeom>
          <a:noFill/>
        </p:spPr>
        <p:txBody>
          <a:bodyPr wrap="square" lIns="103912" tIns="51956" rIns="103912" bIns="51956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ts val="227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87C998-6097-4E9A-90EF-80F67C1624ED}" type="datetime4">
              <a:rPr kumimoji="0" lang="de-AT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ts val="2273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 März 2018</a:t>
            </a:fld>
            <a:endParaRPr kumimoji="0" lang="de-AT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6378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467" b="1" cap="all" baseline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5pPr>
      <a:lvl6pPr marL="519550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6pPr>
      <a:lvl7pPr marL="1039098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7pPr>
      <a:lvl8pPr marL="1558648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8pPr>
      <a:lvl9pPr marL="2078196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0" marR="0" indent="0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Tx/>
        <a:buFontTx/>
        <a:buNone/>
        <a:tabLst/>
        <a:defRPr sz="2400" b="1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1pPr>
      <a:lvl2pPr marL="308483" marR="0" indent="-306678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tabLst/>
        <a:defRPr sz="2400" b="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2pPr>
      <a:lvl3pPr marL="607945" marR="0" indent="-299462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3pPr>
      <a:lvl4pPr marL="918232" marR="0" indent="-310287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1226713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lang="en-GB" sz="2400" baseline="0" dirty="0">
          <a:solidFill>
            <a:schemeClr val="tx1"/>
          </a:solidFill>
          <a:latin typeface="+mn-lt"/>
          <a:cs typeface="+mn-cs"/>
        </a:defRPr>
      </a:lvl5pPr>
      <a:lvl6pPr marL="1526175" marR="0" indent="-299462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6pPr>
      <a:lvl7pPr marL="1834658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7pPr>
      <a:lvl8pPr marL="2143140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8pPr>
      <a:lvl9pPr marL="2143141" marR="0" indent="0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None/>
        <a:tabLst/>
        <a:defRPr sz="18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50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98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648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196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746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294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844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392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98" name="Object 2" hidden="1"/>
          <p:cNvGraphicFramePr>
            <a:graphicFrameLocks/>
          </p:cNvGraphicFramePr>
          <p:nvPr>
            <p:custDataLst>
              <p:tags r:id="rId13"/>
            </p:custDataLst>
            <p:extLst/>
          </p:nvPr>
        </p:nvGraphicFramePr>
        <p:xfrm>
          <a:off x="0" y="1"/>
          <a:ext cx="211667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4098" name="Object 2" hidden="1"/>
                      <p:cNvPicPr>
                        <a:picLocks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211667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>
            <p:custDataLst>
              <p:tags r:id="rId14"/>
            </p:custDataLst>
          </p:nvPr>
        </p:nvSpPr>
        <p:spPr bwMode="auto">
          <a:xfrm>
            <a:off x="31604" y="-38702"/>
            <a:ext cx="132208" cy="236155"/>
          </a:xfrm>
          <a:prstGeom prst="rect">
            <a:avLst/>
          </a:prstGeom>
          <a:solidFill>
            <a:schemeClr val="tx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03909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Verdana"/>
              <a:ea typeface="Verdana"/>
              <a:cs typeface="Verdana"/>
              <a:sym typeface="Verdana"/>
            </a:endParaRPr>
          </a:p>
        </p:txBody>
      </p:sp>
      <p:cxnSp>
        <p:nvCxnSpPr>
          <p:cNvPr id="4" name="Gerade Verbindung 3"/>
          <p:cNvCxnSpPr/>
          <p:nvPr/>
        </p:nvCxnSpPr>
        <p:spPr bwMode="auto">
          <a:xfrm>
            <a:off x="424054" y="526771"/>
            <a:ext cx="9471809" cy="0"/>
          </a:xfrm>
          <a:prstGeom prst="line">
            <a:avLst/>
          </a:prstGeom>
          <a:solidFill>
            <a:schemeClr val="tx2"/>
          </a:solidFill>
          <a:ln w="952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0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255340" y="6292592"/>
            <a:ext cx="514563" cy="29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lnSpc>
                <a:spcPts val="2273"/>
              </a:lnSpc>
              <a:defRPr sz="1067">
                <a:solidFill>
                  <a:schemeClr val="tx1"/>
                </a:solidFill>
                <a:latin typeface="+mn-lt"/>
              </a:defRPr>
            </a:lvl1pPr>
          </a:lstStyle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 smtClean="0">
                <a:solidFill>
                  <a:srgbClr val="000000"/>
                </a:solidFill>
              </a:rPr>
              <a:t>Seite </a:t>
            </a:r>
            <a:fld id="{85890F21-15E0-49A4-9CC3-76BCD1324F92}" type="slidenum">
              <a:rPr lang="de-AT" smtClean="0">
                <a:solidFill>
                  <a:srgbClr val="000000"/>
                </a:solidFill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AT" dirty="0">
              <a:solidFill>
                <a:srgbClr val="000000"/>
              </a:solidFill>
            </a:endParaRPr>
          </a:p>
        </p:txBody>
      </p:sp>
      <p:sp>
        <p:nvSpPr>
          <p:cNvPr id="4102" name="Text Box 6"/>
          <p:cNvSpPr txBox="1">
            <a:spLocks noChangeArrowheads="1"/>
          </p:cNvSpPr>
          <p:nvPr/>
        </p:nvSpPr>
        <p:spPr bwMode="auto">
          <a:xfrm>
            <a:off x="424053" y="6292592"/>
            <a:ext cx="1191032" cy="2949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ts val="227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1067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© SAATBAU LINZ /</a:t>
            </a:r>
            <a:endParaRPr kumimoji="0" lang="de-AT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24055" y="1136464"/>
            <a:ext cx="11345848" cy="5334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AT" noProof="0" dirty="0" smtClean="0"/>
              <a:t>Hier steht die Überschrift.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1541071" y="6243771"/>
            <a:ext cx="2298091" cy="399879"/>
          </a:xfrm>
          <a:prstGeom prst="rect">
            <a:avLst/>
          </a:prstGeom>
          <a:noFill/>
        </p:spPr>
        <p:txBody>
          <a:bodyPr wrap="square" lIns="103912" tIns="51956" rIns="103912" bIns="51956" rtlCol="0">
            <a:spAutoFit/>
          </a:bodyPr>
          <a:lstStyle/>
          <a:p>
            <a:pPr marL="0" marR="0" lvl="0" indent="0" algn="l" defTabSz="1219170" rtl="0" eaLnBrk="1" fontAlgn="base" latinLnBrk="0" hangingPunct="1">
              <a:lnSpc>
                <a:spcPts val="227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587C998-6097-4E9A-90EF-80F67C1624ED}" type="datetime4">
              <a:rPr kumimoji="0" lang="de-AT" sz="1067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1219170" rtl="0" eaLnBrk="1" fontAlgn="base" latinLnBrk="0" hangingPunct="1">
                <a:lnSpc>
                  <a:spcPts val="2273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. März 2018</a:t>
            </a:fld>
            <a:endParaRPr kumimoji="0" lang="de-AT" sz="1067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platzhalter 22"/>
          <p:cNvSpPr>
            <a:spLocks noGrp="1"/>
          </p:cNvSpPr>
          <p:nvPr>
            <p:ph type="body" idx="1"/>
          </p:nvPr>
        </p:nvSpPr>
        <p:spPr>
          <a:xfrm>
            <a:off x="424053" y="2347913"/>
            <a:ext cx="11345848" cy="391184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AT" sz="2667" b="1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Textmasterformat bearbeiten</a:t>
            </a:r>
          </a:p>
          <a:p>
            <a:pPr marL="308483" marR="0" lvl="1" indent="-306678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Zweite Ebene</a:t>
            </a:r>
          </a:p>
          <a:p>
            <a:pPr marL="607945" marR="0" lvl="2" indent="-299462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Dritte Ebene</a:t>
            </a:r>
          </a:p>
          <a:p>
            <a:pPr marL="918232" marR="0" lvl="3" indent="-310287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Vierte Ebene</a:t>
            </a:r>
          </a:p>
          <a:p>
            <a:pPr marL="1226713" marR="0" lvl="4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Fünfte Ebene</a:t>
            </a:r>
          </a:p>
          <a:p>
            <a:pPr marL="1526175" marR="0" lvl="5" indent="-299462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Sechste Ebene</a:t>
            </a:r>
          </a:p>
          <a:p>
            <a:pPr marL="1834658" marR="0" lvl="6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Siebte Ebene</a:t>
            </a:r>
          </a:p>
          <a:p>
            <a:pPr marL="2143140" marR="0" lvl="7" indent="-308483" algn="l" defTabSz="1039098" rtl="0" eaLnBrk="1" fontAlgn="base" latinLnBrk="0" hangingPunct="1">
              <a:lnSpc>
                <a:spcPct val="100000"/>
              </a:lnSpc>
              <a:spcBef>
                <a:spcPts val="68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/>
            </a:pPr>
            <a:r>
              <a:rPr kumimoji="0" lang="de-AT" sz="2667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cs typeface="+mn-cs"/>
              </a:rPr>
              <a:t>Achte Ebene</a:t>
            </a:r>
          </a:p>
        </p:txBody>
      </p:sp>
      <p:pic>
        <p:nvPicPr>
          <p:cNvPr id="4275" name="Picture 179" descr="Z:\Werbung\Brainds\Logo final -Konvertierungen\Sondervariante_Kompakt\Screen 72 dpi\Saatbau_Logo_Sondervariante_Kompakt_72dpi_RGB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02759" y="283974"/>
            <a:ext cx="1567143" cy="485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158227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3467" b="1" cap="all" baseline="0">
          <a:solidFill>
            <a:schemeClr val="tx2"/>
          </a:solidFill>
          <a:latin typeface="+mj-lt"/>
          <a:ea typeface="Verdana" pitchFamily="34" charset="0"/>
          <a:cs typeface="Verdana" pitchFamily="34" charset="0"/>
        </a:defRPr>
      </a:lvl1pPr>
      <a:lvl2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5pPr>
      <a:lvl6pPr marL="519550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6pPr>
      <a:lvl7pPr marL="1039098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7pPr>
      <a:lvl8pPr marL="1558648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8pPr>
      <a:lvl9pPr marL="2078196" algn="l" rtl="0" eaLnBrk="1" fontAlgn="base" hangingPunct="1">
        <a:lnSpc>
          <a:spcPts val="3409"/>
        </a:lnSpc>
        <a:spcBef>
          <a:spcPct val="0"/>
        </a:spcBef>
        <a:spcAft>
          <a:spcPct val="0"/>
        </a:spcAft>
        <a:defRPr sz="2933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0" marR="0" indent="0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Tx/>
        <a:buFontTx/>
        <a:buNone/>
        <a:tabLst/>
        <a:defRPr sz="2400" b="1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1pPr>
      <a:lvl2pPr marL="308483" marR="0" indent="-306678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tabLst/>
        <a:defRPr sz="2400" b="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2pPr>
      <a:lvl3pPr marL="607945" marR="0" indent="-299462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>
          <a:srgbClr val="000000"/>
        </a:buClr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3pPr>
      <a:lvl4pPr marL="918232" marR="0" indent="-310287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ea typeface="Verdana" pitchFamily="34" charset="0"/>
          <a:cs typeface="Verdana" pitchFamily="34" charset="0"/>
        </a:defRPr>
      </a:lvl4pPr>
      <a:lvl5pPr marL="1226713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lang="en-GB" sz="2400" baseline="0" dirty="0">
          <a:solidFill>
            <a:schemeClr val="tx1"/>
          </a:solidFill>
          <a:latin typeface="+mn-lt"/>
          <a:cs typeface="+mn-cs"/>
        </a:defRPr>
      </a:lvl5pPr>
      <a:lvl6pPr marL="1526175" marR="0" indent="-299462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 typeface="Arial" pitchFamily="34" charset="0"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6pPr>
      <a:lvl7pPr marL="1834658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7pPr>
      <a:lvl8pPr marL="2143140" marR="0" indent="-308483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Char char="•"/>
        <a:tabLst/>
        <a:defRPr sz="2400" baseline="0">
          <a:solidFill>
            <a:schemeClr val="tx1"/>
          </a:solidFill>
          <a:latin typeface="+mn-lt"/>
          <a:cs typeface="+mn-cs"/>
        </a:defRPr>
      </a:lvl8pPr>
      <a:lvl9pPr marL="2143141" marR="0" indent="0" algn="l" defTabSz="1039098" rtl="0" eaLnBrk="1" fontAlgn="base" latinLnBrk="0" hangingPunct="1">
        <a:lnSpc>
          <a:spcPct val="100000"/>
        </a:lnSpc>
        <a:spcBef>
          <a:spcPts val="681"/>
        </a:spcBef>
        <a:spcAft>
          <a:spcPct val="0"/>
        </a:spcAft>
        <a:buClrTx/>
        <a:buSzPct val="100000"/>
        <a:buFontTx/>
        <a:buNone/>
        <a:tabLst/>
        <a:defRPr sz="1867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9550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098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58648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196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97746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117294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636844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156392" algn="l" defTabSz="1039098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Layout" Target="../slideLayouts/slideLayout28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424053" y="860532"/>
            <a:ext cx="11345848" cy="533480"/>
          </a:xfrm>
        </p:spPr>
        <p:txBody>
          <a:bodyPr/>
          <a:lstStyle/>
          <a:p>
            <a:r>
              <a:rPr lang="ru-RU" dirty="0" err="1" smtClean="0"/>
              <a:t>Туранус</a:t>
            </a:r>
            <a:endParaRPr lang="de-AT" dirty="0"/>
          </a:p>
        </p:txBody>
      </p:sp>
      <p:sp>
        <p:nvSpPr>
          <p:cNvPr id="18" name="Textplatzhalter 17"/>
          <p:cNvSpPr>
            <a:spLocks noGrp="1"/>
          </p:cNvSpPr>
          <p:nvPr>
            <p:ph type="body" sz="quarter" idx="19"/>
          </p:nvPr>
        </p:nvSpPr>
        <p:spPr>
          <a:xfrm>
            <a:off x="424053" y="1550345"/>
            <a:ext cx="8316824" cy="861774"/>
          </a:xfrm>
        </p:spPr>
        <p:txBody>
          <a:bodyPr/>
          <a:lstStyle/>
          <a:p>
            <a:pPr>
              <a:spcBef>
                <a:spcPct val="0"/>
              </a:spcBef>
              <a:buClr>
                <a:srgbClr val="FF3300"/>
              </a:buClr>
            </a:pP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Высокоурожайный</a:t>
            </a: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сорт озимой пшеницы </a:t>
            </a: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с </a:t>
            </a:r>
            <a:r>
              <a:rPr lang="ru-RU" altLang="ru-RU" sz="28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превосходной зимостойкостью</a:t>
            </a:r>
            <a:endParaRPr lang="ru-RU" altLang="ru-RU" sz="2800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>
                <a:solidFill>
                  <a:srgbClr val="000000"/>
                </a:solidFill>
                <a:latin typeface="Arial"/>
                <a:cs typeface="Arial" charset="0"/>
              </a:rPr>
              <a:t>Seite </a:t>
            </a:r>
            <a:fld id="{85890F21-15E0-49A4-9CC3-76BCD1324F92}" type="slidenum">
              <a:rPr lang="de-AT">
                <a:solidFill>
                  <a:srgbClr val="000000"/>
                </a:solidFill>
                <a:latin typeface="Arial"/>
                <a:cs typeface="Arial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de-AT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4052" y="390521"/>
            <a:ext cx="2536975" cy="287323"/>
          </a:xfrm>
        </p:spPr>
        <p:txBody>
          <a:bodyPr/>
          <a:lstStyle/>
          <a:p>
            <a:r>
              <a:rPr lang="ru-RU" dirty="0" smtClean="0"/>
              <a:t>озимая</a:t>
            </a:r>
            <a:r>
              <a:rPr lang="ru-RU" dirty="0" smtClean="0"/>
              <a:t> </a:t>
            </a:r>
            <a:r>
              <a:rPr lang="ru-RU" dirty="0" smtClean="0"/>
              <a:t>пшеница</a:t>
            </a:r>
            <a:endParaRPr lang="de-AT" dirty="0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20"/>
          </p:nvPr>
        </p:nvSpPr>
        <p:spPr>
          <a:xfrm>
            <a:off x="99587" y="2588123"/>
            <a:ext cx="8260642" cy="4042132"/>
          </a:xfrm>
        </p:spPr>
        <p:txBody>
          <a:bodyPr/>
          <a:lstStyle/>
          <a:p>
            <a:pPr lvl="2"/>
            <a:r>
              <a:rPr lang="ru-RU" dirty="0" smtClean="0"/>
              <a:t>Высокая урожайность и стабильность;</a:t>
            </a:r>
            <a:endParaRPr lang="ru-RU" dirty="0"/>
          </a:p>
          <a:p>
            <a:pPr lvl="2"/>
            <a:r>
              <a:rPr lang="ru-RU" dirty="0" smtClean="0"/>
              <a:t>Прекрасная устойчивость к стрессовым условиям; </a:t>
            </a:r>
            <a:endParaRPr lang="ru-RU" dirty="0"/>
          </a:p>
          <a:p>
            <a:pPr lvl="2"/>
            <a:r>
              <a:rPr lang="ru-RU" dirty="0" smtClean="0"/>
              <a:t>Крупное зерно и высокое содержание протеина в нем;</a:t>
            </a:r>
            <a:endParaRPr lang="ru-RU" dirty="0"/>
          </a:p>
          <a:p>
            <a:pPr lvl="2"/>
            <a:r>
              <a:rPr lang="ru-RU" dirty="0" smtClean="0"/>
              <a:t>Остистый сорт;</a:t>
            </a:r>
          </a:p>
          <a:p>
            <a:pPr lvl="2"/>
            <a:r>
              <a:rPr lang="ru-RU" dirty="0" smtClean="0"/>
              <a:t>Компактная высота и хорошая устойчивость к полеганию;</a:t>
            </a:r>
          </a:p>
          <a:p>
            <a:pPr lvl="2"/>
            <a:r>
              <a:rPr lang="ru-RU" dirty="0" smtClean="0"/>
              <a:t>Уверенная устойчивость к ржавчине.</a:t>
            </a:r>
            <a:endParaRPr lang="ru-RU" dirty="0"/>
          </a:p>
          <a:p>
            <a:pPr lvl="2"/>
            <a:endParaRPr lang="de-AT" dirty="0" smtClean="0"/>
          </a:p>
          <a:p>
            <a:pPr lvl="2"/>
            <a:endParaRPr lang="de-AT" dirty="0" smtClean="0"/>
          </a:p>
          <a:p>
            <a:endParaRPr lang="de-AT" dirty="0"/>
          </a:p>
        </p:txBody>
      </p:sp>
      <p:sp>
        <p:nvSpPr>
          <p:cNvPr id="9" name="Textplatzhalter 20"/>
          <p:cNvSpPr txBox="1">
            <a:spLocks/>
          </p:cNvSpPr>
          <p:nvPr/>
        </p:nvSpPr>
        <p:spPr>
          <a:xfrm>
            <a:off x="5722375" y="880137"/>
            <a:ext cx="6047526" cy="5335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Tx/>
              <a:buFontTx/>
              <a:buNone/>
              <a:tabLst/>
              <a:defRPr sz="2000" b="1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1pPr>
            <a:lvl2pPr marL="231368" marR="0" indent="-230014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 sz="1800" b="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2pPr>
            <a:lvl3pPr marL="455970" marR="0" indent="-224602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Arial" pitchFamily="34" charset="0"/>
              <a:buChar char="•"/>
              <a:tabLst/>
              <a:defRPr sz="18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3pPr>
            <a:lvl4pPr marL="688691" marR="0" indent="-232721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 sz="1800" baseline="0">
                <a:solidFill>
                  <a:schemeClr val="tx1"/>
                </a:solidFill>
                <a:latin typeface="+mn-lt"/>
                <a:ea typeface="Verdana" pitchFamily="34" charset="0"/>
                <a:cs typeface="Verdana" pitchFamily="34" charset="0"/>
              </a:defRPr>
            </a:lvl4pPr>
            <a:lvl5pPr marL="920058" marR="0" indent="-231368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 lang="en-GB" sz="1800" baseline="0" dirty="0">
                <a:solidFill>
                  <a:schemeClr val="tx1"/>
                </a:solidFill>
                <a:latin typeface="+mn-lt"/>
                <a:cs typeface="+mn-cs"/>
              </a:defRPr>
            </a:lvl5pPr>
            <a:lvl6pPr marL="1144660" marR="0" indent="-224602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 typeface="Arial" pitchFamily="34" charset="0"/>
              <a:buChar char="•"/>
              <a:tabLst/>
              <a:defRPr sz="1800" baseline="0">
                <a:solidFill>
                  <a:schemeClr val="tx1"/>
                </a:solidFill>
                <a:latin typeface="+mn-lt"/>
                <a:cs typeface="+mn-cs"/>
              </a:defRPr>
            </a:lvl6pPr>
            <a:lvl7pPr marL="1376028" marR="0" indent="-231368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 sz="1800" baseline="0">
                <a:solidFill>
                  <a:schemeClr val="tx1"/>
                </a:solidFill>
                <a:latin typeface="+mn-lt"/>
                <a:cs typeface="+mn-cs"/>
              </a:defRPr>
            </a:lvl7pPr>
            <a:lvl8pPr marL="1607395" marR="0" indent="-231368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Tx/>
              <a:buChar char="•"/>
              <a:tabLst/>
              <a:defRPr sz="1800" baseline="0">
                <a:solidFill>
                  <a:schemeClr val="tx1"/>
                </a:solidFill>
                <a:latin typeface="+mn-lt"/>
                <a:cs typeface="+mn-cs"/>
              </a:defRPr>
            </a:lvl8pPr>
            <a:lvl9pPr marL="1607396" marR="0" indent="0" algn="l" defTabSz="779343" rtl="0" eaLnBrk="1" fontAlgn="base" latinLnBrk="0" hangingPunct="1">
              <a:lnSpc>
                <a:spcPct val="100000"/>
              </a:lnSpc>
              <a:spcBef>
                <a:spcPts val="511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 sz="14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r" defTabSz="1039098">
              <a:spcBef>
                <a:spcPts val="681"/>
              </a:spcBef>
            </a:pPr>
            <a:r>
              <a:rPr lang="ru-RU" sz="3467" dirty="0" smtClean="0">
                <a:solidFill>
                  <a:srgbClr val="9C9E9F">
                    <a:lumMod val="75000"/>
                  </a:srgbClr>
                </a:solidFill>
                <a:latin typeface="Arial"/>
              </a:rPr>
              <a:t> 295-305 </a:t>
            </a:r>
            <a:r>
              <a:rPr lang="ru-RU" sz="3467" dirty="0" smtClean="0">
                <a:solidFill>
                  <a:srgbClr val="9C9E9F">
                    <a:lumMod val="75000"/>
                  </a:srgbClr>
                </a:solidFill>
                <a:latin typeface="Arial"/>
              </a:rPr>
              <a:t>дней</a:t>
            </a:r>
            <a:endParaRPr lang="de-AT" sz="3467" dirty="0">
              <a:solidFill>
                <a:srgbClr val="9C9E9F">
                  <a:lumMod val="75000"/>
                </a:srgbClr>
              </a:solidFill>
              <a:latin typeface="Arial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7677768" y="2388014"/>
            <a:ext cx="5198802" cy="34658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47606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5"/>
          </p:nvPr>
        </p:nvSpPr>
        <p:spPr>
          <a:xfrm>
            <a:off x="11255340" y="6292592"/>
            <a:ext cx="514563" cy="294953"/>
          </a:xfrm>
        </p:spPr>
        <p:txBody>
          <a:bodyPr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</a:pPr>
            <a:r>
              <a:rPr lang="de-AT">
                <a:solidFill>
                  <a:srgbClr val="000000"/>
                </a:solidFill>
                <a:latin typeface="Arial"/>
                <a:cs typeface="Arial" charset="0"/>
              </a:rPr>
              <a:t>Seite </a:t>
            </a:r>
            <a:fld id="{85890F21-15E0-49A4-9CC3-76BCD1324F92}" type="slidenum">
              <a:rPr lang="de-AT">
                <a:solidFill>
                  <a:srgbClr val="000000"/>
                </a:solidFill>
                <a:latin typeface="Arial"/>
                <a:cs typeface="Arial" charset="0"/>
              </a:rPr>
              <a:pPr defTabSz="1219170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de-AT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24053" y="805283"/>
            <a:ext cx="11345848" cy="533480"/>
          </a:xfrm>
        </p:spPr>
        <p:txBody>
          <a:bodyPr/>
          <a:lstStyle/>
          <a:p>
            <a:r>
              <a:rPr lang="ru-RU" dirty="0" err="1" smtClean="0"/>
              <a:t>Туранус</a:t>
            </a:r>
            <a:endParaRPr lang="de-AT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/>
          </p:nvPr>
        </p:nvSpPr>
        <p:spPr>
          <a:xfrm>
            <a:off x="424055" y="390521"/>
            <a:ext cx="2536975" cy="287323"/>
          </a:xfrm>
        </p:spPr>
        <p:txBody>
          <a:bodyPr/>
          <a:lstStyle/>
          <a:p>
            <a:r>
              <a:rPr lang="ru-RU" dirty="0" smtClean="0"/>
              <a:t>озимая</a:t>
            </a:r>
            <a:r>
              <a:rPr lang="ru-RU" dirty="0" smtClean="0"/>
              <a:t> </a:t>
            </a:r>
            <a:r>
              <a:rPr lang="ru-RU" dirty="0" smtClean="0"/>
              <a:t>пшеница</a:t>
            </a:r>
            <a:endParaRPr lang="de-AT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5746597"/>
              </p:ext>
            </p:extLst>
          </p:nvPr>
        </p:nvGraphicFramePr>
        <p:xfrm>
          <a:off x="424039" y="1485868"/>
          <a:ext cx="11345862" cy="4757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5" name="Worksheet" r:id="rId3" imgW="8636000" imgH="3568654" progId="Excel.Sheet.12">
                  <p:embed/>
                </p:oleObj>
              </mc:Choice>
              <mc:Fallback>
                <p:oleObj name="Worksheet" r:id="rId3" imgW="8636000" imgH="3568654" progId="Excel.Sheet.12">
                  <p:embed/>
                  <p:pic>
                    <p:nvPicPr>
                      <p:cNvPr id="5" name="Objekt 4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424039" y="1485868"/>
                        <a:ext cx="11345862" cy="47577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629562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OBtKPok2DH3wToffvv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IOBtKPok2DH3wToffvv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orlage PPT_16zu9 Beispielfolien">
  <a:themeElements>
    <a:clrScheme name="Benutzerdefiniert 6">
      <a:dk1>
        <a:srgbClr val="000000"/>
      </a:dk1>
      <a:lt1>
        <a:srgbClr val="FFFFFF"/>
      </a:lt1>
      <a:dk2>
        <a:srgbClr val="00722D"/>
      </a:dk2>
      <a:lt2>
        <a:srgbClr val="9C9E9F"/>
      </a:lt2>
      <a:accent1>
        <a:srgbClr val="C94F2B"/>
      </a:accent1>
      <a:accent2>
        <a:srgbClr val="008595"/>
      </a:accent2>
      <a:accent3>
        <a:srgbClr val="F9B200"/>
      </a:accent3>
      <a:accent4>
        <a:srgbClr val="A5C400"/>
      </a:accent4>
      <a:accent5>
        <a:srgbClr val="E4AA8A"/>
      </a:accent5>
      <a:accent6>
        <a:srgbClr val="95C0C8"/>
      </a:accent6>
      <a:hlink>
        <a:srgbClr val="FDD891"/>
      </a:hlink>
      <a:folHlink>
        <a:srgbClr val="D5E19A"/>
      </a:folHlink>
    </a:clrScheme>
    <a:fontScheme name="Saatba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/>
      <a:bodyPr vert="horz" wrap="square" lIns="0" tIns="0" rIns="0" bIns="0" rtlCol="0">
        <a:spAutoFit/>
      </a:bodyPr>
      <a:lstStyle>
        <a:defPPr>
          <a:defRPr kern="0" smtClean="0"/>
        </a:defPPr>
      </a:lstStyle>
    </a:txDef>
  </a:objectDefaults>
  <a:extraClrSchemeLst>
    <a:extraClrScheme>
      <a:clrScheme name="GoodMills 1">
        <a:dk1>
          <a:srgbClr val="000000"/>
        </a:dk1>
        <a:lt1>
          <a:srgbClr val="FFFFFF"/>
        </a:lt1>
        <a:dk2>
          <a:srgbClr val="F5DC00"/>
        </a:dk2>
        <a:lt2>
          <a:srgbClr val="666666"/>
        </a:lt2>
        <a:accent1>
          <a:srgbClr val="E68500"/>
        </a:accent1>
        <a:accent2>
          <a:srgbClr val="0070A5"/>
        </a:accent2>
        <a:accent3>
          <a:srgbClr val="FFFFFF"/>
        </a:accent3>
        <a:accent4>
          <a:srgbClr val="000000"/>
        </a:accent4>
        <a:accent5>
          <a:srgbClr val="F0C2AA"/>
        </a:accent5>
        <a:accent6>
          <a:srgbClr val="006595"/>
        </a:accent6>
        <a:hlink>
          <a:srgbClr val="93AABE"/>
        </a:hlink>
        <a:folHlink>
          <a:srgbClr val="5C1D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Default Theme">
  <a:themeElements>
    <a:clrScheme name="Benutzerdefiniert 6">
      <a:dk1>
        <a:srgbClr val="000000"/>
      </a:dk1>
      <a:lt1>
        <a:srgbClr val="FFFFFF"/>
      </a:lt1>
      <a:dk2>
        <a:srgbClr val="00722D"/>
      </a:dk2>
      <a:lt2>
        <a:srgbClr val="9C9E9F"/>
      </a:lt2>
      <a:accent1>
        <a:srgbClr val="C94F2B"/>
      </a:accent1>
      <a:accent2>
        <a:srgbClr val="008595"/>
      </a:accent2>
      <a:accent3>
        <a:srgbClr val="F9B200"/>
      </a:accent3>
      <a:accent4>
        <a:srgbClr val="A5C400"/>
      </a:accent4>
      <a:accent5>
        <a:srgbClr val="E4AA8A"/>
      </a:accent5>
      <a:accent6>
        <a:srgbClr val="95C0C8"/>
      </a:accent6>
      <a:hlink>
        <a:srgbClr val="FDD891"/>
      </a:hlink>
      <a:folHlink>
        <a:srgbClr val="D5E19A"/>
      </a:folHlink>
    </a:clrScheme>
    <a:fontScheme name="Saatbau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rtlCol="0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ts val="2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5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  <a:txDef>
      <a:spPr/>
      <a:bodyPr vert="horz" wrap="square" lIns="0" tIns="0" rIns="0" bIns="0" rtlCol="0">
        <a:spAutoFit/>
      </a:bodyPr>
      <a:lstStyle>
        <a:defPPr>
          <a:defRPr kern="0" smtClean="0"/>
        </a:defPPr>
      </a:lstStyle>
    </a:txDef>
  </a:objectDefaults>
  <a:extraClrSchemeLst>
    <a:extraClrScheme>
      <a:clrScheme name="GoodMills 1">
        <a:dk1>
          <a:srgbClr val="000000"/>
        </a:dk1>
        <a:lt1>
          <a:srgbClr val="FFFFFF"/>
        </a:lt1>
        <a:dk2>
          <a:srgbClr val="F5DC00"/>
        </a:dk2>
        <a:lt2>
          <a:srgbClr val="666666"/>
        </a:lt2>
        <a:accent1>
          <a:srgbClr val="E68500"/>
        </a:accent1>
        <a:accent2>
          <a:srgbClr val="0070A5"/>
        </a:accent2>
        <a:accent3>
          <a:srgbClr val="FFFFFF"/>
        </a:accent3>
        <a:accent4>
          <a:srgbClr val="000000"/>
        </a:accent4>
        <a:accent5>
          <a:srgbClr val="F0C2AA"/>
        </a:accent5>
        <a:accent6>
          <a:srgbClr val="006595"/>
        </a:accent6>
        <a:hlink>
          <a:srgbClr val="93AABE"/>
        </a:hlink>
        <a:folHlink>
          <a:srgbClr val="5C1D6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62</TotalTime>
  <Words>56</Words>
  <Application>Microsoft Office PowerPoint</Application>
  <PresentationFormat>Широкоэкранный</PresentationFormat>
  <Paragraphs>15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2</vt:i4>
      </vt:variant>
    </vt:vector>
  </HeadingPairs>
  <TitlesOfParts>
    <vt:vector size="12" baseType="lpstr">
      <vt:lpstr>Arial</vt:lpstr>
      <vt:lpstr>Calibri</vt:lpstr>
      <vt:lpstr>Calibri Light</vt:lpstr>
      <vt:lpstr>Times New Roman</vt:lpstr>
      <vt:lpstr>Verdana</vt:lpstr>
      <vt:lpstr>Тема Office</vt:lpstr>
      <vt:lpstr>Vorlage PPT_16zu9 Beispielfolien</vt:lpstr>
      <vt:lpstr>Default Theme</vt:lpstr>
      <vt:lpstr>think-cell Folie</vt:lpstr>
      <vt:lpstr>Лист Microsoft Excel</vt:lpstr>
      <vt:lpstr>Туранус</vt:lpstr>
      <vt:lpstr>Туранус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алентро</dc:title>
  <dc:creator>Saatbau</dc:creator>
  <cp:lastModifiedBy>Saatbau</cp:lastModifiedBy>
  <cp:revision>21</cp:revision>
  <dcterms:created xsi:type="dcterms:W3CDTF">2018-02-06T09:07:50Z</dcterms:created>
  <dcterms:modified xsi:type="dcterms:W3CDTF">2018-03-01T07:54:05Z</dcterms:modified>
</cp:coreProperties>
</file>